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41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972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BF4053-AC45-448C-B1EF-524B0379C63E}" type="datetimeFigureOut">
              <a:rPr lang="zh-CN" altLang="en-US" smtClean="0"/>
              <a:t>2025/9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1CDAE2-9F05-4943-96BC-8C71F790598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593958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17642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149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5196979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3878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2601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743448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5708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727388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image" Target="../media/image5.png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image" Target="../media/image4.emf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1" Type="http://schemas.openxmlformats.org/officeDocument/2006/relationships/oleObject" Target="../embeddings/oleObject5.bin"/><Relationship Id="rId5" Type="http://schemas.openxmlformats.org/officeDocument/2006/relationships/tags" Target="../tags/tag8.xml"/><Relationship Id="rId10" Type="http://schemas.openxmlformats.org/officeDocument/2006/relationships/notesSlide" Target="../notesSlides/notesSlide1.xml"/><Relationship Id="rId4" Type="http://schemas.openxmlformats.org/officeDocument/2006/relationships/tags" Target="../tags/tag7.xml"/><Relationship Id="rId9" Type="http://schemas.openxmlformats.org/officeDocument/2006/relationships/slideLayout" Target="../slideLayouts/slideLayout5.xml"/><Relationship Id="rId14" Type="http://schemas.openxmlformats.org/officeDocument/2006/relationships/image" Target="../media/image6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幻灯片" r:id="rId11" imgW="349" imgH="350" progId="TCLayout.ActiveDocument.1">
                  <p:embed/>
                </p:oleObj>
              </mc:Choice>
              <mc:Fallback>
                <p:oleObj name="think-cell 幻灯片" r:id="rId11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itle 31">
            <a:extLst>
              <a:ext uri="{FF2B5EF4-FFF2-40B4-BE49-F238E27FC236}">
                <a16:creationId xmlns:a16="http://schemas.microsoft.com/office/drawing/2014/main" id="{7927AF13-BE23-2A25-7B69-A1D594A396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pic>
        <p:nvPicPr>
          <p:cNvPr id="2" name="Grafik 9">
            <a:extLst>
              <a:ext uri="{FF2B5EF4-FFF2-40B4-BE49-F238E27FC236}">
                <a16:creationId xmlns:a16="http://schemas.microsoft.com/office/drawing/2014/main" id="{74BAF70D-E9A9-C314-5AC0-3DD32503E434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11158" y="2041943"/>
            <a:ext cx="540000" cy="540000"/>
          </a:xfrm>
          <a:prstGeom prst="rect">
            <a:avLst/>
          </a:prstGeom>
        </p:spPr>
      </p:pic>
      <p:sp>
        <p:nvSpPr>
          <p:cNvPr id="3" name="Shape 60650">
            <a:extLst>
              <a:ext uri="{FF2B5EF4-FFF2-40B4-BE49-F238E27FC236}">
                <a16:creationId xmlns:a16="http://schemas.microsoft.com/office/drawing/2014/main" id="{F5050D29-F3EE-5D90-5B25-24574F71DC0A}"/>
              </a:ext>
            </a:extLst>
          </p:cNvPr>
          <p:cNvSpPr>
            <a:spLocks/>
          </p:cNvSpPr>
          <p:nvPr/>
        </p:nvSpPr>
        <p:spPr>
          <a:xfrm>
            <a:off x="816079" y="2933442"/>
            <a:ext cx="1749815" cy="14838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84" extrusionOk="0">
                <a:moveTo>
                  <a:pt x="4391" y="1"/>
                </a:moveTo>
                <a:cubicBezTo>
                  <a:pt x="3897" y="24"/>
                  <a:pt x="3536" y="402"/>
                  <a:pt x="3309" y="941"/>
                </a:cubicBezTo>
                <a:cubicBezTo>
                  <a:pt x="3078" y="1486"/>
                  <a:pt x="2989" y="2182"/>
                  <a:pt x="2964" y="2866"/>
                </a:cubicBezTo>
                <a:cubicBezTo>
                  <a:pt x="2906" y="4467"/>
                  <a:pt x="2806" y="6093"/>
                  <a:pt x="2658" y="7730"/>
                </a:cubicBezTo>
                <a:cubicBezTo>
                  <a:pt x="2231" y="12464"/>
                  <a:pt x="1326" y="17166"/>
                  <a:pt x="0" y="21584"/>
                </a:cubicBezTo>
                <a:lnTo>
                  <a:pt x="21600" y="21584"/>
                </a:lnTo>
                <a:cubicBezTo>
                  <a:pt x="20893" y="20802"/>
                  <a:pt x="20347" y="19825"/>
                  <a:pt x="19977" y="18742"/>
                </a:cubicBezTo>
                <a:cubicBezTo>
                  <a:pt x="19253" y="16623"/>
                  <a:pt x="19315" y="14151"/>
                  <a:pt x="18899" y="12027"/>
                </a:cubicBezTo>
                <a:cubicBezTo>
                  <a:pt x="18749" y="11257"/>
                  <a:pt x="18485" y="10559"/>
                  <a:pt x="17869" y="10516"/>
                </a:cubicBezTo>
                <a:cubicBezTo>
                  <a:pt x="17356" y="10481"/>
                  <a:pt x="16987" y="11049"/>
                  <a:pt x="16800" y="11677"/>
                </a:cubicBezTo>
                <a:cubicBezTo>
                  <a:pt x="16443" y="12874"/>
                  <a:pt x="16337" y="14376"/>
                  <a:pt x="16068" y="15578"/>
                </a:cubicBezTo>
                <a:cubicBezTo>
                  <a:pt x="15834" y="16621"/>
                  <a:pt x="15488" y="17409"/>
                  <a:pt x="14547" y="17462"/>
                </a:cubicBezTo>
                <a:cubicBezTo>
                  <a:pt x="13933" y="17496"/>
                  <a:pt x="13413" y="16990"/>
                  <a:pt x="13046" y="16367"/>
                </a:cubicBezTo>
                <a:cubicBezTo>
                  <a:pt x="11571" y="13865"/>
                  <a:pt x="12480" y="10515"/>
                  <a:pt x="12143" y="7496"/>
                </a:cubicBezTo>
                <a:cubicBezTo>
                  <a:pt x="12009" y="6297"/>
                  <a:pt x="11405" y="5230"/>
                  <a:pt x="10620" y="5514"/>
                </a:cubicBezTo>
                <a:cubicBezTo>
                  <a:pt x="10174" y="5675"/>
                  <a:pt x="9971" y="6265"/>
                  <a:pt x="9849" y="6835"/>
                </a:cubicBezTo>
                <a:cubicBezTo>
                  <a:pt x="9566" y="8170"/>
                  <a:pt x="9523" y="9544"/>
                  <a:pt x="9462" y="10922"/>
                </a:cubicBezTo>
                <a:cubicBezTo>
                  <a:pt x="9403" y="12253"/>
                  <a:pt x="9327" y="13592"/>
                  <a:pt x="9014" y="14869"/>
                </a:cubicBezTo>
                <a:cubicBezTo>
                  <a:pt x="8877" y="15422"/>
                  <a:pt x="8692" y="15930"/>
                  <a:pt x="8241" y="16098"/>
                </a:cubicBezTo>
                <a:cubicBezTo>
                  <a:pt x="7474" y="16383"/>
                  <a:pt x="6927" y="15304"/>
                  <a:pt x="6750" y="14130"/>
                </a:cubicBezTo>
                <a:cubicBezTo>
                  <a:pt x="6185" y="10376"/>
                  <a:pt x="5939" y="6572"/>
                  <a:pt x="5799" y="2758"/>
                </a:cubicBezTo>
                <a:cubicBezTo>
                  <a:pt x="5769" y="1935"/>
                  <a:pt x="5684" y="1124"/>
                  <a:pt x="5335" y="560"/>
                </a:cubicBezTo>
                <a:cubicBezTo>
                  <a:pt x="5111" y="197"/>
                  <a:pt x="4778" y="-16"/>
                  <a:pt x="4391" y="1"/>
                </a:cubicBezTo>
                <a:close/>
              </a:path>
            </a:pathLst>
          </a:custGeom>
          <a:solidFill>
            <a:schemeClr val="accent1"/>
          </a:solidFill>
          <a:ln w="12700" cap="flat">
            <a:noFill/>
            <a:miter lim="400000"/>
          </a:ln>
          <a:effectLst/>
        </p:spPr>
        <p:txBody>
          <a:bodyPr wrap="square" lIns="35719" tIns="35719" rIns="35719" bIns="35719" numCol="1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3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理想品牌字体 2022"/>
              <a:cs typeface="+mn-cs"/>
            </a:endParaRPr>
          </a:p>
        </p:txBody>
      </p:sp>
      <p:sp>
        <p:nvSpPr>
          <p:cNvPr id="4" name="Shape 60651">
            <a:extLst>
              <a:ext uri="{FF2B5EF4-FFF2-40B4-BE49-F238E27FC236}">
                <a16:creationId xmlns:a16="http://schemas.microsoft.com/office/drawing/2014/main" id="{1EC538A3-1522-4D74-DC2D-0E795DDA0CE9}"/>
              </a:ext>
            </a:extLst>
          </p:cNvPr>
          <p:cNvSpPr>
            <a:spLocks/>
          </p:cNvSpPr>
          <p:nvPr/>
        </p:nvSpPr>
        <p:spPr>
          <a:xfrm>
            <a:off x="2096436" y="2813095"/>
            <a:ext cx="2408142" cy="160353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463" extrusionOk="0">
                <a:moveTo>
                  <a:pt x="14430" y="10"/>
                </a:moveTo>
                <a:cubicBezTo>
                  <a:pt x="13582" y="-137"/>
                  <a:pt x="13124" y="1365"/>
                  <a:pt x="12973" y="2869"/>
                </a:cubicBezTo>
                <a:cubicBezTo>
                  <a:pt x="12634" y="6243"/>
                  <a:pt x="12510" y="9714"/>
                  <a:pt x="11656" y="12861"/>
                </a:cubicBezTo>
                <a:cubicBezTo>
                  <a:pt x="11310" y="14132"/>
                  <a:pt x="10848" y="15329"/>
                  <a:pt x="10198" y="16261"/>
                </a:cubicBezTo>
                <a:cubicBezTo>
                  <a:pt x="9115" y="17816"/>
                  <a:pt x="7653" y="18466"/>
                  <a:pt x="6188" y="18435"/>
                </a:cubicBezTo>
                <a:cubicBezTo>
                  <a:pt x="3984" y="18390"/>
                  <a:pt x="1434" y="17360"/>
                  <a:pt x="276" y="20277"/>
                </a:cubicBezTo>
                <a:cubicBezTo>
                  <a:pt x="131" y="20642"/>
                  <a:pt x="49" y="21045"/>
                  <a:pt x="0" y="21463"/>
                </a:cubicBezTo>
                <a:lnTo>
                  <a:pt x="21600" y="21463"/>
                </a:lnTo>
                <a:cubicBezTo>
                  <a:pt x="19162" y="19103"/>
                  <a:pt x="17323" y="15334"/>
                  <a:pt x="16547" y="10821"/>
                </a:cubicBezTo>
                <a:cubicBezTo>
                  <a:pt x="16056" y="7967"/>
                  <a:pt x="16045" y="4955"/>
                  <a:pt x="15540" y="2106"/>
                </a:cubicBezTo>
                <a:cubicBezTo>
                  <a:pt x="15366" y="1121"/>
                  <a:pt x="15049" y="118"/>
                  <a:pt x="14430" y="1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35719" tIns="35719" rIns="35719" bIns="35719" numCol="1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3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理想品牌字体 2022"/>
              <a:cs typeface="+mn-cs"/>
            </a:endParaRPr>
          </a:p>
        </p:txBody>
      </p:sp>
      <p:sp>
        <p:nvSpPr>
          <p:cNvPr id="6" name="Shape 60652">
            <a:extLst>
              <a:ext uri="{FF2B5EF4-FFF2-40B4-BE49-F238E27FC236}">
                <a16:creationId xmlns:a16="http://schemas.microsoft.com/office/drawing/2014/main" id="{7BCBE8FB-C3D8-A38E-ACB5-852229DD2284}"/>
              </a:ext>
            </a:extLst>
          </p:cNvPr>
          <p:cNvSpPr>
            <a:spLocks/>
          </p:cNvSpPr>
          <p:nvPr/>
        </p:nvSpPr>
        <p:spPr>
          <a:xfrm>
            <a:off x="3836745" y="3052034"/>
            <a:ext cx="2196273" cy="13646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16" extrusionOk="0">
                <a:moveTo>
                  <a:pt x="10539" y="30"/>
                </a:moveTo>
                <a:cubicBezTo>
                  <a:pt x="9334" y="394"/>
                  <a:pt x="9199" y="2915"/>
                  <a:pt x="8830" y="4939"/>
                </a:cubicBezTo>
                <a:cubicBezTo>
                  <a:pt x="8655" y="5902"/>
                  <a:pt x="8301" y="6767"/>
                  <a:pt x="7776" y="6852"/>
                </a:cubicBezTo>
                <a:cubicBezTo>
                  <a:pt x="7277" y="6933"/>
                  <a:pt x="6873" y="6295"/>
                  <a:pt x="6659" y="5458"/>
                </a:cubicBezTo>
                <a:cubicBezTo>
                  <a:pt x="6178" y="3573"/>
                  <a:pt x="5937" y="969"/>
                  <a:pt x="4892" y="1654"/>
                </a:cubicBezTo>
                <a:cubicBezTo>
                  <a:pt x="4593" y="1850"/>
                  <a:pt x="4431" y="2358"/>
                  <a:pt x="4303" y="2858"/>
                </a:cubicBezTo>
                <a:cubicBezTo>
                  <a:pt x="3887" y="4493"/>
                  <a:pt x="3670" y="6237"/>
                  <a:pt x="3402" y="7957"/>
                </a:cubicBezTo>
                <a:cubicBezTo>
                  <a:pt x="3134" y="9682"/>
                  <a:pt x="2814" y="11383"/>
                  <a:pt x="2442" y="13052"/>
                </a:cubicBezTo>
                <a:cubicBezTo>
                  <a:pt x="1786" y="15996"/>
                  <a:pt x="966" y="18827"/>
                  <a:pt x="0" y="21516"/>
                </a:cubicBezTo>
                <a:lnTo>
                  <a:pt x="21600" y="21516"/>
                </a:lnTo>
                <a:cubicBezTo>
                  <a:pt x="20789" y="20336"/>
                  <a:pt x="20111" y="18953"/>
                  <a:pt x="19580" y="17430"/>
                </a:cubicBezTo>
                <a:cubicBezTo>
                  <a:pt x="18991" y="15742"/>
                  <a:pt x="18580" y="13870"/>
                  <a:pt x="18328" y="11899"/>
                </a:cubicBezTo>
                <a:cubicBezTo>
                  <a:pt x="17923" y="8737"/>
                  <a:pt x="17129" y="5341"/>
                  <a:pt x="15507" y="5929"/>
                </a:cubicBezTo>
                <a:cubicBezTo>
                  <a:pt x="15154" y="6057"/>
                  <a:pt x="14858" y="6435"/>
                  <a:pt x="14523" y="6664"/>
                </a:cubicBezTo>
                <a:cubicBezTo>
                  <a:pt x="14056" y="6984"/>
                  <a:pt x="13722" y="7193"/>
                  <a:pt x="13412" y="6948"/>
                </a:cubicBezTo>
                <a:cubicBezTo>
                  <a:pt x="13081" y="6685"/>
                  <a:pt x="12830" y="6010"/>
                  <a:pt x="12652" y="5187"/>
                </a:cubicBezTo>
                <a:cubicBezTo>
                  <a:pt x="12304" y="3584"/>
                  <a:pt x="12170" y="1484"/>
                  <a:pt x="11583" y="569"/>
                </a:cubicBezTo>
                <a:cubicBezTo>
                  <a:pt x="11300" y="128"/>
                  <a:pt x="10917" y="-84"/>
                  <a:pt x="10539" y="30"/>
                </a:cubicBezTo>
                <a:close/>
              </a:path>
            </a:pathLst>
          </a:custGeom>
          <a:solidFill>
            <a:schemeClr val="tx2"/>
          </a:solidFill>
          <a:ln w="12700" cap="flat">
            <a:noFill/>
            <a:miter lim="400000"/>
          </a:ln>
          <a:effectLst/>
        </p:spPr>
        <p:txBody>
          <a:bodyPr wrap="square" lIns="35719" tIns="35719" rIns="35719" bIns="35719" numCol="1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3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理想品牌字体 2022"/>
              <a:cs typeface="+mn-cs"/>
            </a:endParaRPr>
          </a:p>
        </p:txBody>
      </p:sp>
      <p:sp>
        <p:nvSpPr>
          <p:cNvPr id="7" name="Shape 60653">
            <a:extLst>
              <a:ext uri="{FF2B5EF4-FFF2-40B4-BE49-F238E27FC236}">
                <a16:creationId xmlns:a16="http://schemas.microsoft.com/office/drawing/2014/main" id="{C4DE643A-B833-14BB-0791-408093081068}"/>
              </a:ext>
            </a:extLst>
          </p:cNvPr>
          <p:cNvSpPr>
            <a:spLocks/>
          </p:cNvSpPr>
          <p:nvPr/>
        </p:nvSpPr>
        <p:spPr>
          <a:xfrm>
            <a:off x="5146900" y="2931330"/>
            <a:ext cx="2608092" cy="148576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22" extrusionOk="0">
                <a:moveTo>
                  <a:pt x="15636" y="5"/>
                </a:moveTo>
                <a:cubicBezTo>
                  <a:pt x="15045" y="-78"/>
                  <a:pt x="14691" y="1052"/>
                  <a:pt x="14531" y="2203"/>
                </a:cubicBezTo>
                <a:cubicBezTo>
                  <a:pt x="13970" y="6245"/>
                  <a:pt x="14140" y="11030"/>
                  <a:pt x="12293" y="13517"/>
                </a:cubicBezTo>
                <a:cubicBezTo>
                  <a:pt x="11890" y="14060"/>
                  <a:pt x="11392" y="14407"/>
                  <a:pt x="10931" y="14085"/>
                </a:cubicBezTo>
                <a:cubicBezTo>
                  <a:pt x="10252" y="13612"/>
                  <a:pt x="10078" y="12119"/>
                  <a:pt x="10026" y="10733"/>
                </a:cubicBezTo>
                <a:cubicBezTo>
                  <a:pt x="9976" y="9368"/>
                  <a:pt x="9675" y="7998"/>
                  <a:pt x="9061" y="8171"/>
                </a:cubicBezTo>
                <a:cubicBezTo>
                  <a:pt x="8601" y="8301"/>
                  <a:pt x="8438" y="9273"/>
                  <a:pt x="8386" y="10189"/>
                </a:cubicBezTo>
                <a:cubicBezTo>
                  <a:pt x="8213" y="13265"/>
                  <a:pt x="7957" y="16706"/>
                  <a:pt x="6424" y="17530"/>
                </a:cubicBezTo>
                <a:cubicBezTo>
                  <a:pt x="5847" y="17841"/>
                  <a:pt x="5242" y="17578"/>
                  <a:pt x="4645" y="17469"/>
                </a:cubicBezTo>
                <a:cubicBezTo>
                  <a:pt x="3977" y="17347"/>
                  <a:pt x="3295" y="17426"/>
                  <a:pt x="2672" y="17891"/>
                </a:cubicBezTo>
                <a:cubicBezTo>
                  <a:pt x="2056" y="18350"/>
                  <a:pt x="1543" y="19152"/>
                  <a:pt x="1035" y="19939"/>
                </a:cubicBezTo>
                <a:cubicBezTo>
                  <a:pt x="691" y="20470"/>
                  <a:pt x="347" y="20998"/>
                  <a:pt x="0" y="21522"/>
                </a:cubicBezTo>
                <a:lnTo>
                  <a:pt x="21600" y="21522"/>
                </a:lnTo>
                <a:cubicBezTo>
                  <a:pt x="20288" y="20202"/>
                  <a:pt x="19188" y="18265"/>
                  <a:pt x="18421" y="15892"/>
                </a:cubicBezTo>
                <a:cubicBezTo>
                  <a:pt x="17697" y="13654"/>
                  <a:pt x="17296" y="11128"/>
                  <a:pt x="17090" y="8550"/>
                </a:cubicBezTo>
                <a:cubicBezTo>
                  <a:pt x="16914" y="6348"/>
                  <a:pt x="16880" y="4101"/>
                  <a:pt x="16555" y="1955"/>
                </a:cubicBezTo>
                <a:cubicBezTo>
                  <a:pt x="16413" y="1016"/>
                  <a:pt x="16138" y="75"/>
                  <a:pt x="15636" y="5"/>
                </a:cubicBezTo>
                <a:close/>
              </a:path>
            </a:pathLst>
          </a:custGeom>
          <a:solidFill>
            <a:schemeClr val="accent6"/>
          </a:solidFill>
          <a:ln w="12700" cap="flat">
            <a:noFill/>
            <a:miter lim="400000"/>
          </a:ln>
          <a:effectLst/>
        </p:spPr>
        <p:txBody>
          <a:bodyPr wrap="square" lIns="35719" tIns="35719" rIns="35719" bIns="35719" numCol="1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3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理想品牌字体 2022"/>
              <a:cs typeface="+mn-cs"/>
            </a:endParaRPr>
          </a:p>
        </p:txBody>
      </p:sp>
      <p:sp>
        <p:nvSpPr>
          <p:cNvPr id="9" name="Shape 60654">
            <a:extLst>
              <a:ext uri="{FF2B5EF4-FFF2-40B4-BE49-F238E27FC236}">
                <a16:creationId xmlns:a16="http://schemas.microsoft.com/office/drawing/2014/main" id="{39D37986-92C6-CF3A-AC60-3F29BF9D6E33}"/>
              </a:ext>
            </a:extLst>
          </p:cNvPr>
          <p:cNvSpPr>
            <a:spLocks/>
          </p:cNvSpPr>
          <p:nvPr/>
        </p:nvSpPr>
        <p:spPr>
          <a:xfrm>
            <a:off x="6986940" y="2858164"/>
            <a:ext cx="2260827" cy="155847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212" extrusionOk="0">
                <a:moveTo>
                  <a:pt x="14388" y="64"/>
                </a:moveTo>
                <a:cubicBezTo>
                  <a:pt x="12968" y="-388"/>
                  <a:pt x="11916" y="1626"/>
                  <a:pt x="11679" y="4000"/>
                </a:cubicBezTo>
                <a:cubicBezTo>
                  <a:pt x="11396" y="6821"/>
                  <a:pt x="11485" y="10314"/>
                  <a:pt x="9715" y="11012"/>
                </a:cubicBezTo>
                <a:cubicBezTo>
                  <a:pt x="8994" y="11296"/>
                  <a:pt x="8274" y="10811"/>
                  <a:pt x="7556" y="10534"/>
                </a:cubicBezTo>
                <a:cubicBezTo>
                  <a:pt x="6982" y="10313"/>
                  <a:pt x="6336" y="10311"/>
                  <a:pt x="6019" y="11016"/>
                </a:cubicBezTo>
                <a:cubicBezTo>
                  <a:pt x="5617" y="11910"/>
                  <a:pt x="6146" y="12985"/>
                  <a:pt x="6114" y="14015"/>
                </a:cubicBezTo>
                <a:cubicBezTo>
                  <a:pt x="6076" y="15280"/>
                  <a:pt x="5308" y="16080"/>
                  <a:pt x="4577" y="16749"/>
                </a:cubicBezTo>
                <a:cubicBezTo>
                  <a:pt x="3024" y="18171"/>
                  <a:pt x="1497" y="19659"/>
                  <a:pt x="0" y="21212"/>
                </a:cubicBezTo>
                <a:lnTo>
                  <a:pt x="21600" y="21212"/>
                </a:lnTo>
                <a:cubicBezTo>
                  <a:pt x="20606" y="19879"/>
                  <a:pt x="19781" y="18292"/>
                  <a:pt x="19159" y="16519"/>
                </a:cubicBezTo>
                <a:cubicBezTo>
                  <a:pt x="18296" y="14063"/>
                  <a:pt x="17802" y="11262"/>
                  <a:pt x="17413" y="8524"/>
                </a:cubicBezTo>
                <a:cubicBezTo>
                  <a:pt x="17054" y="5988"/>
                  <a:pt x="16745" y="3454"/>
                  <a:pt x="15646" y="1400"/>
                </a:cubicBezTo>
                <a:cubicBezTo>
                  <a:pt x="15314" y="779"/>
                  <a:pt x="14906" y="229"/>
                  <a:pt x="14388" y="64"/>
                </a:cubicBezTo>
                <a:close/>
              </a:path>
            </a:pathLst>
          </a:custGeom>
          <a:solidFill>
            <a:schemeClr val="accent5"/>
          </a:solidFill>
          <a:ln w="12700" cap="flat">
            <a:noFill/>
            <a:miter lim="400000"/>
          </a:ln>
          <a:effectLst/>
        </p:spPr>
        <p:txBody>
          <a:bodyPr wrap="square" lIns="35719" tIns="35719" rIns="35719" bIns="35719" numCol="1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3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理想品牌字体 2022"/>
              <a:cs typeface="+mn-cs"/>
            </a:endParaRPr>
          </a:p>
        </p:txBody>
      </p:sp>
      <p:sp>
        <p:nvSpPr>
          <p:cNvPr id="11" name="Shape 60655">
            <a:extLst>
              <a:ext uri="{FF2B5EF4-FFF2-40B4-BE49-F238E27FC236}">
                <a16:creationId xmlns:a16="http://schemas.microsoft.com/office/drawing/2014/main" id="{1DD7A4B8-D92B-BE82-03F1-6ECB29153B52}"/>
              </a:ext>
            </a:extLst>
          </p:cNvPr>
          <p:cNvSpPr>
            <a:spLocks/>
          </p:cNvSpPr>
          <p:nvPr/>
        </p:nvSpPr>
        <p:spPr>
          <a:xfrm>
            <a:off x="8834166" y="2854213"/>
            <a:ext cx="2022887" cy="156313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24" extrusionOk="0">
                <a:moveTo>
                  <a:pt x="5153" y="7"/>
                </a:moveTo>
                <a:cubicBezTo>
                  <a:pt x="4657" y="76"/>
                  <a:pt x="4383" y="688"/>
                  <a:pt x="4227" y="1351"/>
                </a:cubicBezTo>
                <a:cubicBezTo>
                  <a:pt x="4046" y="2122"/>
                  <a:pt x="3932" y="3007"/>
                  <a:pt x="3888" y="3888"/>
                </a:cubicBezTo>
                <a:cubicBezTo>
                  <a:pt x="3661" y="8420"/>
                  <a:pt x="3524" y="13038"/>
                  <a:pt x="2123" y="17172"/>
                </a:cubicBezTo>
                <a:cubicBezTo>
                  <a:pt x="1583" y="18764"/>
                  <a:pt x="862" y="20225"/>
                  <a:pt x="0" y="21524"/>
                </a:cubicBezTo>
                <a:lnTo>
                  <a:pt x="21600" y="21524"/>
                </a:lnTo>
                <a:cubicBezTo>
                  <a:pt x="21588" y="21222"/>
                  <a:pt x="21574" y="20919"/>
                  <a:pt x="21558" y="20617"/>
                </a:cubicBezTo>
                <a:cubicBezTo>
                  <a:pt x="21498" y="19498"/>
                  <a:pt x="21411" y="18369"/>
                  <a:pt x="21110" y="17323"/>
                </a:cubicBezTo>
                <a:cubicBezTo>
                  <a:pt x="20598" y="15541"/>
                  <a:pt x="19473" y="14160"/>
                  <a:pt x="18092" y="14121"/>
                </a:cubicBezTo>
                <a:cubicBezTo>
                  <a:pt x="17196" y="14096"/>
                  <a:pt x="16192" y="14622"/>
                  <a:pt x="15547" y="13743"/>
                </a:cubicBezTo>
                <a:cubicBezTo>
                  <a:pt x="15210" y="13285"/>
                  <a:pt x="15150" y="12605"/>
                  <a:pt x="15027" y="11982"/>
                </a:cubicBezTo>
                <a:cubicBezTo>
                  <a:pt x="14755" y="10613"/>
                  <a:pt x="14107" y="9400"/>
                  <a:pt x="13130" y="8938"/>
                </a:cubicBezTo>
                <a:cubicBezTo>
                  <a:pt x="12204" y="8499"/>
                  <a:pt x="11213" y="8873"/>
                  <a:pt x="10239" y="8943"/>
                </a:cubicBezTo>
                <a:cubicBezTo>
                  <a:pt x="9305" y="9011"/>
                  <a:pt x="8343" y="8776"/>
                  <a:pt x="7656" y="7915"/>
                </a:cubicBezTo>
                <a:cubicBezTo>
                  <a:pt x="6957" y="7039"/>
                  <a:pt x="6717" y="5727"/>
                  <a:pt x="6654" y="4434"/>
                </a:cubicBezTo>
                <a:cubicBezTo>
                  <a:pt x="6603" y="3374"/>
                  <a:pt x="6482" y="2283"/>
                  <a:pt x="6289" y="1410"/>
                </a:cubicBezTo>
                <a:cubicBezTo>
                  <a:pt x="6108" y="588"/>
                  <a:pt x="5758" y="-76"/>
                  <a:pt x="5153" y="7"/>
                </a:cubicBezTo>
                <a:close/>
              </a:path>
            </a:pathLst>
          </a:custGeom>
          <a:solidFill>
            <a:schemeClr val="bg2"/>
          </a:solidFill>
          <a:ln w="12700" cap="flat">
            <a:noFill/>
            <a:miter lim="400000"/>
          </a:ln>
          <a:effectLst/>
        </p:spPr>
        <p:txBody>
          <a:bodyPr wrap="square" lIns="35719" tIns="35719" rIns="35719" bIns="35719" numCol="1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3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理想品牌字体 2022"/>
              <a:cs typeface="+mn-cs"/>
            </a:endParaRPr>
          </a:p>
        </p:txBody>
      </p:sp>
      <p:sp>
        <p:nvSpPr>
          <p:cNvPr id="12" name="Shape 60660">
            <a:extLst>
              <a:ext uri="{FF2B5EF4-FFF2-40B4-BE49-F238E27FC236}">
                <a16:creationId xmlns:a16="http://schemas.microsoft.com/office/drawing/2014/main" id="{A8757C0C-20A3-607E-0837-D0ACB02001F6}"/>
              </a:ext>
            </a:extLst>
          </p:cNvPr>
          <p:cNvSpPr>
            <a:spLocks/>
          </p:cNvSpPr>
          <p:nvPr/>
        </p:nvSpPr>
        <p:spPr>
          <a:xfrm>
            <a:off x="1730645" y="4416893"/>
            <a:ext cx="0" cy="502921"/>
          </a:xfrm>
          <a:prstGeom prst="line">
            <a:avLst/>
          </a:prstGeom>
          <a:noFill/>
          <a:ln w="6350" cap="flat" cmpd="sng" algn="ctr">
            <a:solidFill>
              <a:schemeClr val="accent5"/>
            </a:solidFill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wrap="square" lIns="35719" tIns="35719" rIns="35719" bIns="35719" numCol="1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3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理想品牌字体 2022"/>
              <a:cs typeface="+mn-cs"/>
            </a:endParaRPr>
          </a:p>
        </p:txBody>
      </p:sp>
      <p:sp>
        <p:nvSpPr>
          <p:cNvPr id="13" name="TextBox 34">
            <a:extLst>
              <a:ext uri="{FF2B5EF4-FFF2-40B4-BE49-F238E27FC236}">
                <a16:creationId xmlns:a16="http://schemas.microsoft.com/office/drawing/2014/main" id="{7A006BDC-340E-0369-D90F-C580373E03C3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936880" y="5051068"/>
            <a:ext cx="1508211" cy="30777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League Spartan" charset="0"/>
                <a:cs typeface="Poppins" pitchFamily="2" charset="77"/>
              </a:rPr>
              <a:t>{numer_4}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6AA32AD1-E778-E260-E8CC-952D43631609}"/>
              </a:ext>
            </a:extLst>
          </p:cNvPr>
          <p:cNvSpPr txBox="1">
            <a:spLocks/>
          </p:cNvSpPr>
          <p:nvPr/>
        </p:nvSpPr>
        <p:spPr>
          <a:xfrm>
            <a:off x="419478" y="5372610"/>
            <a:ext cx="2622334" cy="461665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  <a:defRPr/>
            </a:pPr>
            <a:r>
              <a:rPr lang="en-US" altLang="zh-CN" sz="1400" dirty="0">
                <a:solidFill>
                  <a:prstClr val="black"/>
                </a:solidFill>
                <a:latin typeface="理想品牌字体 2022"/>
                <a:ea typeface="Lato Light" panose="020F0502020204030203" pitchFamily="34" charset="0"/>
                <a:cs typeface="Mukta ExtraLight" panose="020B0000000000000000" pitchFamily="34" charset="77"/>
              </a:rPr>
              <a:t>{number_4_content}</a:t>
            </a:r>
          </a:p>
        </p:txBody>
      </p:sp>
      <p:sp>
        <p:nvSpPr>
          <p:cNvPr id="15" name="Shape 60661">
            <a:extLst>
              <a:ext uri="{FF2B5EF4-FFF2-40B4-BE49-F238E27FC236}">
                <a16:creationId xmlns:a16="http://schemas.microsoft.com/office/drawing/2014/main" id="{38E389F8-EF65-D190-4A87-49BEB32280ED}"/>
              </a:ext>
            </a:extLst>
          </p:cNvPr>
          <p:cNvSpPr>
            <a:spLocks/>
          </p:cNvSpPr>
          <p:nvPr/>
        </p:nvSpPr>
        <p:spPr>
          <a:xfrm>
            <a:off x="5014540" y="4416893"/>
            <a:ext cx="0" cy="502921"/>
          </a:xfrm>
          <a:prstGeom prst="line">
            <a:avLst/>
          </a:prstGeom>
          <a:noFill/>
          <a:ln w="6350" cap="flat" cmpd="sng" algn="ctr">
            <a:solidFill>
              <a:schemeClr val="accent5"/>
            </a:solidFill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wrap="square" lIns="35719" tIns="35719" rIns="35719" bIns="35719" numCol="1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3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理想品牌字体 2022"/>
              <a:cs typeface="+mn-cs"/>
            </a:endParaRPr>
          </a:p>
        </p:txBody>
      </p:sp>
      <p:sp>
        <p:nvSpPr>
          <p:cNvPr id="16" name="TextBox 38">
            <a:extLst>
              <a:ext uri="{FF2B5EF4-FFF2-40B4-BE49-F238E27FC236}">
                <a16:creationId xmlns:a16="http://schemas.microsoft.com/office/drawing/2014/main" id="{B33368D5-027A-55CE-DBF2-E476637FF025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080341" y="5068011"/>
            <a:ext cx="1868399" cy="30777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理想品牌字体 2022"/>
                <a:ea typeface="League Spartan" charset="0"/>
                <a:cs typeface="Poppins" pitchFamily="2" charset="77"/>
              </a:rPr>
              <a:t>{number_5}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4F054B6A-9135-CF12-5E10-E69CC46E6D23}"/>
              </a:ext>
            </a:extLst>
          </p:cNvPr>
          <p:cNvSpPr txBox="1">
            <a:spLocks/>
          </p:cNvSpPr>
          <p:nvPr/>
        </p:nvSpPr>
        <p:spPr>
          <a:xfrm>
            <a:off x="3703373" y="5372610"/>
            <a:ext cx="2622334" cy="461665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  <a:defRPr/>
            </a:pPr>
            <a:r>
              <a:rPr lang="en-US" altLang="zh-CN" sz="1400" dirty="0">
                <a:solidFill>
                  <a:prstClr val="black"/>
                </a:solidFill>
                <a:latin typeface="理想品牌字体 2022"/>
                <a:ea typeface="Lato Light" panose="020F0502020204030203" pitchFamily="34" charset="0"/>
                <a:cs typeface="Mukta ExtraLight" panose="020B0000000000000000" pitchFamily="34" charset="77"/>
              </a:rPr>
              <a:t>{number_5_content}</a:t>
            </a:r>
          </a:p>
        </p:txBody>
      </p:sp>
      <p:sp>
        <p:nvSpPr>
          <p:cNvPr id="18" name="Shape 60662">
            <a:extLst>
              <a:ext uri="{FF2B5EF4-FFF2-40B4-BE49-F238E27FC236}">
                <a16:creationId xmlns:a16="http://schemas.microsoft.com/office/drawing/2014/main" id="{0FD3D1B5-FD32-5C80-E0C6-B55C49965753}"/>
              </a:ext>
            </a:extLst>
          </p:cNvPr>
          <p:cNvSpPr>
            <a:spLocks/>
          </p:cNvSpPr>
          <p:nvPr/>
        </p:nvSpPr>
        <p:spPr>
          <a:xfrm>
            <a:off x="8298436" y="4417292"/>
            <a:ext cx="0" cy="502921"/>
          </a:xfrm>
          <a:prstGeom prst="line">
            <a:avLst/>
          </a:prstGeom>
          <a:noFill/>
          <a:ln w="6350" cap="flat" cmpd="sng" algn="ctr">
            <a:solidFill>
              <a:schemeClr val="accent5"/>
            </a:solidFill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wrap="square" lIns="35719" tIns="35719" rIns="35719" bIns="35719" numCol="1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3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理想品牌字体 2022"/>
              <a:cs typeface="+mn-cs"/>
            </a:endParaRPr>
          </a:p>
        </p:txBody>
      </p:sp>
      <p:sp>
        <p:nvSpPr>
          <p:cNvPr id="19" name="TextBox 40">
            <a:extLst>
              <a:ext uri="{FF2B5EF4-FFF2-40B4-BE49-F238E27FC236}">
                <a16:creationId xmlns:a16="http://schemas.microsoft.com/office/drawing/2014/main" id="{1F8CC536-9EC2-63F8-DE3B-E0C57953DD4B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7579674" y="5064833"/>
            <a:ext cx="1508199" cy="30777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理想品牌字体 2022"/>
                <a:ea typeface="League Spartan" charset="0"/>
                <a:cs typeface="Poppins" pitchFamily="2" charset="77"/>
              </a:rPr>
              <a:t>{number_6}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7A1A31CC-6EE5-5D6F-A362-ECF233C0C1DF}"/>
              </a:ext>
            </a:extLst>
          </p:cNvPr>
          <p:cNvSpPr txBox="1">
            <a:spLocks/>
          </p:cNvSpPr>
          <p:nvPr/>
        </p:nvSpPr>
        <p:spPr>
          <a:xfrm>
            <a:off x="6987268" y="5375788"/>
            <a:ext cx="2622334" cy="461665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  <a:defRPr/>
            </a:pPr>
            <a:r>
              <a:rPr lang="en-US" altLang="zh-CN" sz="1400" dirty="0">
                <a:solidFill>
                  <a:prstClr val="black"/>
                </a:solidFill>
                <a:latin typeface="理想品牌字体 2022"/>
                <a:ea typeface="Lato Light" panose="020F0502020204030203" pitchFamily="34" charset="0"/>
                <a:cs typeface="Mukta ExtraLight" panose="020B0000000000000000" pitchFamily="34" charset="77"/>
              </a:rPr>
              <a:t>{number_6_content}</a:t>
            </a:r>
          </a:p>
        </p:txBody>
      </p:sp>
      <p:sp>
        <p:nvSpPr>
          <p:cNvPr id="21" name="Shape 60659">
            <a:extLst>
              <a:ext uri="{FF2B5EF4-FFF2-40B4-BE49-F238E27FC236}">
                <a16:creationId xmlns:a16="http://schemas.microsoft.com/office/drawing/2014/main" id="{E49B85B2-0B20-A249-CC6D-5DBC0682F6DB}"/>
              </a:ext>
            </a:extLst>
          </p:cNvPr>
          <p:cNvSpPr>
            <a:spLocks/>
          </p:cNvSpPr>
          <p:nvPr/>
        </p:nvSpPr>
        <p:spPr>
          <a:xfrm>
            <a:off x="3372593" y="2668661"/>
            <a:ext cx="0" cy="1050852"/>
          </a:xfrm>
          <a:prstGeom prst="line">
            <a:avLst/>
          </a:prstGeom>
          <a:noFill/>
          <a:ln w="6350" cap="flat" cmpd="sng" algn="ctr">
            <a:solidFill>
              <a:schemeClr val="accent5"/>
            </a:solidFill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wrap="square" lIns="35719" tIns="35719" rIns="35719" bIns="35719" numCol="1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3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理想品牌字体 2022"/>
              <a:cs typeface="+mn-cs"/>
            </a:endParaRPr>
          </a:p>
        </p:txBody>
      </p:sp>
      <p:sp>
        <p:nvSpPr>
          <p:cNvPr id="22" name="TextBox 42">
            <a:extLst>
              <a:ext uri="{FF2B5EF4-FFF2-40B4-BE49-F238E27FC236}">
                <a16:creationId xmlns:a16="http://schemas.microsoft.com/office/drawing/2014/main" id="{92AB9720-1537-5B94-3893-64333C692D7C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2818628" y="2209386"/>
            <a:ext cx="1865130" cy="3077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97A56"/>
                </a:solidFill>
                <a:effectLst/>
                <a:uLnTx/>
                <a:uFillTx/>
                <a:latin typeface="理想品牌字体 2022"/>
                <a:ea typeface="League Spartan" charset="0"/>
                <a:cs typeface="Poppins" pitchFamily="2" charset="77"/>
              </a:rPr>
              <a:t>{number_1}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BCF77CD4-582D-A9DC-0D5F-9178889D3F91}"/>
              </a:ext>
            </a:extLst>
          </p:cNvPr>
          <p:cNvSpPr txBox="1">
            <a:spLocks/>
          </p:cNvSpPr>
          <p:nvPr/>
        </p:nvSpPr>
        <p:spPr>
          <a:xfrm>
            <a:off x="2061426" y="1683454"/>
            <a:ext cx="2622334" cy="461665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Lato Light" panose="020F0502020204030203" pitchFamily="34" charset="0"/>
                <a:cs typeface="Mukta ExtraLight" panose="020B0000000000000000" pitchFamily="34" charset="77"/>
              </a:rPr>
              <a:t>{number_1_content}</a:t>
            </a:r>
          </a:p>
        </p:txBody>
      </p:sp>
      <p:sp>
        <p:nvSpPr>
          <p:cNvPr id="24" name="Shape 60658">
            <a:extLst>
              <a:ext uri="{FF2B5EF4-FFF2-40B4-BE49-F238E27FC236}">
                <a16:creationId xmlns:a16="http://schemas.microsoft.com/office/drawing/2014/main" id="{524BAAB6-F2BE-E026-0399-257086D193B8}"/>
              </a:ext>
            </a:extLst>
          </p:cNvPr>
          <p:cNvSpPr>
            <a:spLocks/>
          </p:cNvSpPr>
          <p:nvPr/>
        </p:nvSpPr>
        <p:spPr>
          <a:xfrm>
            <a:off x="6656488" y="2668661"/>
            <a:ext cx="0" cy="1155627"/>
          </a:xfrm>
          <a:prstGeom prst="line">
            <a:avLst/>
          </a:prstGeom>
          <a:noFill/>
          <a:ln w="6350" cap="flat" cmpd="sng" algn="ctr">
            <a:solidFill>
              <a:schemeClr val="accent5"/>
            </a:solidFill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wrap="square" lIns="35719" tIns="35719" rIns="35719" bIns="35719" numCol="1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3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理想品牌字体 2022"/>
              <a:cs typeface="+mn-cs"/>
            </a:endParaRPr>
          </a:p>
        </p:txBody>
      </p:sp>
      <p:sp>
        <p:nvSpPr>
          <p:cNvPr id="25" name="TextBox 44">
            <a:extLst>
              <a:ext uri="{FF2B5EF4-FFF2-40B4-BE49-F238E27FC236}">
                <a16:creationId xmlns:a16="http://schemas.microsoft.com/office/drawing/2014/main" id="{89A18F8C-3AD7-E742-D7B6-831F80399141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5600805" y="2224212"/>
            <a:ext cx="2195907" cy="3077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D6A26A"/>
                </a:solidFill>
                <a:effectLst/>
                <a:uLnTx/>
                <a:uFillTx/>
                <a:latin typeface="理想品牌字体 2022"/>
                <a:ea typeface="League Spartan" charset="0"/>
                <a:cs typeface="Poppins" pitchFamily="2" charset="77"/>
              </a:rPr>
              <a:t>{number_2}</a:t>
            </a:r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83FF855B-B9E3-56F9-5E03-23C93C7C22BF}"/>
              </a:ext>
            </a:extLst>
          </p:cNvPr>
          <p:cNvSpPr txBox="1">
            <a:spLocks/>
          </p:cNvSpPr>
          <p:nvPr/>
        </p:nvSpPr>
        <p:spPr>
          <a:xfrm>
            <a:off x="5345321" y="1683454"/>
            <a:ext cx="2622334" cy="461665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Lato Light" panose="020F0502020204030203" pitchFamily="34" charset="0"/>
                <a:cs typeface="Mukta ExtraLight" panose="020B0000000000000000" pitchFamily="34" charset="77"/>
              </a:rPr>
              <a:t>{number_2_content}</a:t>
            </a:r>
          </a:p>
        </p:txBody>
      </p:sp>
      <p:sp>
        <p:nvSpPr>
          <p:cNvPr id="27" name="Shape 60657">
            <a:extLst>
              <a:ext uri="{FF2B5EF4-FFF2-40B4-BE49-F238E27FC236}">
                <a16:creationId xmlns:a16="http://schemas.microsoft.com/office/drawing/2014/main" id="{01260F25-84A5-EDBB-A61C-ED569892A027}"/>
              </a:ext>
            </a:extLst>
          </p:cNvPr>
          <p:cNvSpPr>
            <a:spLocks/>
          </p:cNvSpPr>
          <p:nvPr/>
        </p:nvSpPr>
        <p:spPr>
          <a:xfrm>
            <a:off x="9940384" y="2672432"/>
            <a:ext cx="0" cy="801019"/>
          </a:xfrm>
          <a:prstGeom prst="line">
            <a:avLst/>
          </a:prstGeom>
          <a:noFill/>
          <a:ln w="6350" cap="flat" cmpd="sng" algn="ctr">
            <a:solidFill>
              <a:schemeClr val="accent5"/>
            </a:solidFill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wrap="square" lIns="35719" tIns="35719" rIns="35719" bIns="35719" numCol="1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3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理想品牌字体 2022"/>
              <a:cs typeface="+mn-cs"/>
            </a:endParaRPr>
          </a:p>
        </p:txBody>
      </p:sp>
      <p:sp>
        <p:nvSpPr>
          <p:cNvPr id="28" name="TextBox 46">
            <a:extLst>
              <a:ext uri="{FF2B5EF4-FFF2-40B4-BE49-F238E27FC236}">
                <a16:creationId xmlns:a16="http://schemas.microsoft.com/office/drawing/2014/main" id="{26DAD785-7C9E-BC8D-A90E-1F8DF37DBC6B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8984939" y="2189913"/>
            <a:ext cx="2195903" cy="3077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理想品牌字体 2022"/>
                <a:ea typeface="League Spartan" charset="0"/>
                <a:cs typeface="Poppins" pitchFamily="2" charset="77"/>
              </a:rPr>
              <a:t>{number_3}</a:t>
            </a:r>
          </a:p>
        </p:txBody>
      </p:sp>
      <p:sp>
        <p:nvSpPr>
          <p:cNvPr id="29" name="Subtitle 2">
            <a:extLst>
              <a:ext uri="{FF2B5EF4-FFF2-40B4-BE49-F238E27FC236}">
                <a16:creationId xmlns:a16="http://schemas.microsoft.com/office/drawing/2014/main" id="{FEA03E60-E7B9-44C9-9A18-FDA6B27E531A}"/>
              </a:ext>
            </a:extLst>
          </p:cNvPr>
          <p:cNvSpPr txBox="1">
            <a:spLocks/>
          </p:cNvSpPr>
          <p:nvPr/>
        </p:nvSpPr>
        <p:spPr>
          <a:xfrm>
            <a:off x="8629217" y="1683454"/>
            <a:ext cx="2622334" cy="461665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  <a:defRPr/>
            </a:pPr>
            <a:r>
              <a:rPr lang="en-US" altLang="zh-CN" sz="1400" dirty="0">
                <a:solidFill>
                  <a:prstClr val="black"/>
                </a:solidFill>
                <a:latin typeface="理想品牌字体 2022"/>
                <a:ea typeface="Lato Light" panose="020F0502020204030203" pitchFamily="34" charset="0"/>
                <a:cs typeface="Mukta ExtraLight" panose="020B0000000000000000" pitchFamily="34" charset="77"/>
              </a:rPr>
              <a:t>{number_3_content}</a:t>
            </a:r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8AE0D392-B07B-9287-D0A7-4E512E099D6D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45740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infographic, percentage, percent</a:t>
            </a:r>
          </a:p>
        </p:txBody>
      </p:sp>
    </p:spTree>
    <p:extLst>
      <p:ext uri="{BB962C8B-B14F-4D97-AF65-F5344CB8AC3E}">
        <p14:creationId xmlns:p14="http://schemas.microsoft.com/office/powerpoint/2010/main" val="19482547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82</Words>
  <Application>Microsoft Office PowerPoint</Application>
  <PresentationFormat>宽屏</PresentationFormat>
  <Paragraphs>14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3" baseType="lpstr">
      <vt:lpstr>Lato Light</vt:lpstr>
      <vt:lpstr>League Spartan</vt:lpstr>
      <vt:lpstr>LiciumFont 2022 Bold</vt:lpstr>
      <vt:lpstr>Mukta ExtraLight</vt:lpstr>
      <vt:lpstr>Poppins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2</cp:revision>
  <dcterms:created xsi:type="dcterms:W3CDTF">2025-09-04T05:36:50Z</dcterms:created>
  <dcterms:modified xsi:type="dcterms:W3CDTF">2025-09-04T05:38:42Z</dcterms:modified>
</cp:coreProperties>
</file>